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3"/>
  </p:notesMasterIdLst>
  <p:handoutMasterIdLst>
    <p:handoutMasterId r:id="rId4"/>
  </p:handoutMasterIdLst>
  <p:sldIdLst>
    <p:sldId id="109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66" d="100"/>
          <a:sy n="66" d="100"/>
        </p:scale>
        <p:origin x="72" y="346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dirty="0"/>
              <a:t>Header</a:t>
            </a:r>
            <a:endParaRPr lang="pt-BR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7/11/2019</a:t>
            </a:fld>
            <a:endParaRPr lang="pt-BR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dirty="0"/>
              <a:t>Footer</a:t>
            </a:r>
            <a:endParaRPr lang="pt-BR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7/11/2019</a:t>
            </a:fld>
            <a:endParaRPr lang="pt-BR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533083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695294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23216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333601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56898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11" name="Textfeld 100"/>
          <p:cNvSpPr txBox="1"/>
          <p:nvPr userDrawn="1"/>
        </p:nvSpPr>
        <p:spPr>
          <a:xfrm>
            <a:off x="3619500" y="2106613"/>
            <a:ext cx="5186365" cy="25596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                   O Sidel Group é formado pela união de duas marcas fortes, </a:t>
            </a:r>
            <a:r>
              <a:rPr lang="en-US" sz="900" b="0" i="0" u="none" strike="noStrike" kern="1200" baseline="0" dirty="0">
                <a:solidFill>
                  <a:schemeClr val="bg1"/>
                </a:solidFill>
                <a:latin typeface="+mn-lt"/>
              </a:rPr>
              <a:t>		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a Sidel e a Gebo Cermex. Juntos, somos líderes no fornecimento de </a:t>
            </a:r>
            <a:r>
              <a:rPr lang="en-US" sz="900" b="0" i="0" u="none" strike="noStrike" kern="1200" baseline="0" dirty="0">
                <a:solidFill>
                  <a:schemeClr val="bg1"/>
                </a:solidFill>
                <a:latin typeface="+mn-lt"/>
              </a:rPr>
              <a:t>	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equipamentos e serviços de acondicionamento de líquidos, alimentos </a:t>
            </a:r>
            <a:r>
              <a:rPr lang="en-US" sz="900" b="0" i="0" u="none" strike="noStrike" kern="1200" baseline="0" dirty="0">
                <a:solidFill>
                  <a:schemeClr val="bg1"/>
                </a:solidFill>
                <a:latin typeface="+mn-lt"/>
              </a:rPr>
              <a:t>	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e produtos de cuidado pessoal em PET, lata, vidro e </a:t>
            </a:r>
            <a:r>
              <a:rPr lang="en-GB" sz="900" b="0" i="0" u="none" strike="noStrike" kern="1200" baseline="0">
                <a:solidFill>
                  <a:schemeClr val="bg1"/>
                </a:solidFill>
                <a:latin typeface="+mn-lt"/>
              </a:rPr>
              <a:t>outros </a:t>
            </a:r>
            <a:br>
              <a:rPr lang="en-GB" sz="900" b="0" i="0" u="none" strike="noStrike" kern="1200" baseline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>
                <a:solidFill>
                  <a:schemeClr val="bg1"/>
                </a:solidFill>
                <a:latin typeface="+mn-lt"/>
              </a:rPr>
              <a:t>                                                    materiai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       Com mais de 37 mil máquinas instaladas em mais de 190 países, </a:t>
            </a:r>
            <a:r>
              <a:rPr lang="en-US" sz="900" b="0" i="0" u="none" strike="noStrike" kern="1200" baseline="0" dirty="0">
                <a:solidFill>
                  <a:schemeClr val="bg1"/>
                </a:solidFill>
                <a:latin typeface="+mn-lt"/>
              </a:rPr>
              <a:t>	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temo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quase 170 anos de experiência, com fort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enfoqu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em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	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istema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avançados, engenharia de linha e inovação. Nossos mais de 5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	           mil funcionários no mundo todo se empenham no fornecimento d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oluções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	        qu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atendam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à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necessidade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dos clientes e potencializem o </a:t>
            </a:r>
            <a:r>
              <a:rPr lang="en-GB" sz="900" b="1" i="0" u="none" strike="noStrike" kern="1200" baseline="0" dirty="0" err="1">
                <a:solidFill>
                  <a:schemeClr val="bg1"/>
                </a:solidFill>
                <a:latin typeface="+mn-lt"/>
              </a:rPr>
              <a:t>desempenh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	      das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linha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, produtos 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negócio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. </a:t>
            </a:r>
            <a:endParaRPr lang="pt-BR" sz="900" b="0" i="0" u="none" strike="noStrike" kern="1200" baseline="0" dirty="0">
              <a:solidFill>
                <a:schemeClr val="bg1"/>
              </a:solidFill>
              <a:latin typeface="+mn-lt"/>
            </a:endParaRP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</a:t>
            </a:r>
            <a:r>
              <a:rPr lang="pt-BR" sz="900" b="0" i="0" u="none" strike="noStrike" kern="1200" baseline="0" dirty="0">
                <a:solidFill>
                  <a:schemeClr val="bg1"/>
                </a:solidFill>
                <a:latin typeface="+mn-lt"/>
              </a:rPr>
              <a:t>Para oferecer um tal nível de desempenho é necessário um </a:t>
            </a:r>
            <a:r>
              <a:rPr lang="pt-BR" sz="900" b="1" i="0" u="none" strike="noStrike" kern="1200" baseline="0" dirty="0">
                <a:solidFill>
                  <a:schemeClr val="bg1"/>
                </a:solidFill>
                <a:latin typeface="+mn-lt"/>
              </a:rPr>
              <a:t>conhecimento</a:t>
            </a:r>
            <a:br>
              <a:rPr lang="pt-BR" sz="900" b="1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pt-BR" sz="900" b="1" i="0" u="none" strike="noStrike" kern="1200" baseline="0" dirty="0">
                <a:solidFill>
                  <a:schemeClr val="bg1"/>
                </a:solidFill>
                <a:latin typeface="+mn-lt"/>
              </a:rPr>
              <a:t>                </a:t>
            </a:r>
            <a:r>
              <a:rPr lang="pt-BR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permanente dos desafios de nossos clientes e o compromisso de responder a esses</a:t>
            </a:r>
            <a:br>
              <a:rPr lang="pt-BR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pt-BR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objetivos únicos. Realizamos isso por meio do diálogo e do entendimento das</a:t>
            </a:r>
            <a:br>
              <a:rPr lang="pt-BR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pt-BR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necessidades dos mercados, produção e cadeias de valor. Para complementar, </a:t>
            </a:r>
            <a:br>
              <a:rPr lang="pt-BR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pt-BR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aplicamos nosso sólido conhecimento técnico e a análise inteligente de dados, a fim de</a:t>
            </a:r>
            <a:br>
              <a:rPr lang="pt-BR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pt-BR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maximizar todo o potencial de produtividade ao longo de toda a vida útil.</a:t>
            </a:r>
          </a:p>
        </p:txBody>
      </p:sp>
      <p:sp>
        <p:nvSpPr>
          <p:cNvPr id="12" name="Textfeld 110"/>
          <p:cNvSpPr txBox="1"/>
          <p:nvPr userDrawn="1"/>
        </p:nvSpPr>
        <p:spPr>
          <a:xfrm>
            <a:off x="3999199" y="4666288"/>
            <a:ext cx="518636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dirty="0"/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Chamamo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isso de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</a:rPr>
              <a:t>Performance through Understanding.</a:t>
            </a:r>
            <a:endParaRPr lang="pt-BR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21121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382201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Folie" r:id="rId12" imgW="399" imgH="399" progId="TCLayout.ActiveDocument.1">
                  <p:embed/>
                </p:oleObj>
              </mc:Choice>
              <mc:Fallback>
                <p:oleObj name="think-cell Folie" r:id="rId12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</a:rPr>
              <a:t>Título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27 November 2019</a:t>
            </a:fld>
            <a:endParaRPr lang="pt-BR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ágina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pt-BR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309" y="649790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10503DD-E083-4B7C-AAC0-5DAFEF3D97AC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240492198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94134"/>
            <a:ext cx="7991475" cy="401774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VALOR E VANTAGEN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</a:rPr>
                <a:t>DESCRIÇÃO</a:t>
              </a:r>
              <a:endParaRPr kumimoji="0" lang="pt-BR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uza o consumo de água e vapor de seu equipamento</a:t>
            </a:r>
            <a:endParaRPr lang="pt-B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9288" y="1463930"/>
            <a:ext cx="7997825" cy="307975"/>
          </a:xfrm>
        </p:spPr>
        <p:txBody>
          <a:bodyPr/>
          <a:lstStyle/>
          <a:p>
            <a:r>
              <a:rPr lang="en-US" b="1" dirty="0"/>
              <a:t>PR</a:t>
            </a:r>
            <a:r>
              <a:rPr dirty="0"/>
              <a:t>ediction </a:t>
            </a:r>
            <a:r>
              <a:rPr lang="en-US" b="1" dirty="0"/>
              <a:t>IN</a:t>
            </a:r>
            <a:r>
              <a:rPr dirty="0"/>
              <a:t> </a:t>
            </a:r>
            <a:r>
              <a:rPr lang="en-US" b="1" dirty="0"/>
              <a:t>C</a:t>
            </a:r>
            <a:r>
              <a:rPr dirty="0"/>
              <a:t>ontrol </a:t>
            </a:r>
            <a:r>
              <a:rPr lang="en-US" b="1" dirty="0"/>
              <a:t>E</a:t>
            </a:r>
            <a:r>
              <a:rPr dirty="0"/>
              <a:t>quation – Sistema de controle Plus</a:t>
            </a:r>
            <a:endParaRPr lang="pt-B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sz="800" kern="0" dirty="0"/>
              <a:t>Valor: Eficiência, otimização de </a:t>
            </a:r>
            <a:r>
              <a:rPr lang="en-US" sz="800" kern="0" dirty="0" err="1"/>
              <a:t>custos</a:t>
            </a:r>
            <a:r>
              <a:rPr lang="en-US" sz="800" kern="0" dirty="0"/>
              <a:t>, </a:t>
            </a:r>
            <a:r>
              <a:rPr lang="en-US" sz="800" kern="0" dirty="0" err="1"/>
              <a:t>sustentabilidade</a:t>
            </a:r>
            <a:endParaRPr lang="pt-BR" sz="800" kern="0" dirty="0"/>
          </a:p>
          <a:p>
            <a:r>
              <a:rPr lang="en-US" sz="800" kern="0" dirty="0"/>
              <a:t>Equipamento: Pasteurizador</a:t>
            </a:r>
          </a:p>
          <a:p>
            <a:r>
              <a:rPr lang="en-US" sz="800" kern="0" dirty="0" err="1"/>
              <a:t>Catálogo</a:t>
            </a:r>
            <a:r>
              <a:rPr lang="en-US" sz="800" kern="0" dirty="0"/>
              <a:t> </a:t>
            </a:r>
            <a:r>
              <a:rPr lang="en-US" sz="800" kern="0" dirty="0" err="1"/>
              <a:t>código</a:t>
            </a:r>
            <a:r>
              <a:rPr lang="en-US" sz="800" kern="0" dirty="0"/>
              <a:t>: VRP-02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en-US" sz="1050" b="1" dirty="0"/>
              <a:t>Manutenção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As operações de manutenção de rotina são facilitadas.</a:t>
            </a:r>
          </a:p>
          <a:p>
            <a:pPr>
              <a:buClr>
                <a:schemeClr val="accent4"/>
              </a:buClr>
            </a:pPr>
            <a:r>
              <a:rPr lang="en-US" sz="1050" b="1" dirty="0"/>
              <a:t>Segurança e ergonomia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Lista de alarmes e mensagens.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Fácil operação da máquina pelo painel de controle.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“Senha” pessoal com diferentes funcionalidades.</a:t>
            </a:r>
          </a:p>
          <a:p>
            <a:pPr>
              <a:buClr>
                <a:schemeClr val="accent4"/>
              </a:buClr>
            </a:pPr>
            <a:r>
              <a:rPr lang="en-US" sz="1050" b="1" dirty="0"/>
              <a:t>Produtividade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Redução dos custos de consumo de água de abastecimento.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Redução dos custos de consumo de vapor.</a:t>
            </a:r>
          </a:p>
          <a:p>
            <a:pPr>
              <a:buClr>
                <a:schemeClr val="accent4"/>
              </a:buClr>
            </a:pPr>
            <a:r>
              <a:rPr lang="en-US" sz="1050" b="1" dirty="0"/>
              <a:t>Flexibilidade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Possibilidade de trocas de formato rápidas.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Possibilidade de definir os parâmetros de funcionalidade da máquina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1">
              <a:buClr>
                <a:schemeClr val="accent4"/>
              </a:buClr>
            </a:pPr>
            <a:r>
              <a:rPr lang="en-US" sz="1000" dirty="0"/>
              <a:t>Controle eficiente da unidade de pasteurização (PU):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NENHUM produto com pasteurização insuficiente. 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Sobrecarga mínima das Pus: definição e limitação de pasteurização excessiva.</a:t>
            </a:r>
            <a:r>
              <a:rPr dirty="0"/>
              <a:t> 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Obtenção do “Efeito de Morte”.</a:t>
            </a:r>
          </a:p>
          <a:p>
            <a:pPr lvl="1">
              <a:buClr>
                <a:schemeClr val="accent4"/>
              </a:buClr>
            </a:pPr>
            <a:endParaRPr lang="pt-BR" sz="1000" dirty="0"/>
          </a:p>
          <a:p>
            <a:pPr marL="85725" lvl="1">
              <a:buClr>
                <a:schemeClr val="accent4"/>
              </a:buClr>
            </a:pPr>
            <a:r>
              <a:rPr lang="en-US" sz="1000" dirty="0"/>
              <a:t>Controle eficiente da temperatura de saída do produto.</a:t>
            </a:r>
          </a:p>
          <a:p>
            <a:pPr lvl="1">
              <a:buClr>
                <a:schemeClr val="accent4"/>
              </a:buClr>
            </a:pPr>
            <a:endParaRPr lang="pt-BR" sz="10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000" dirty="0"/>
              <a:t>Função facilmente ajustável.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Precisão dos parâmetros da receita para cada tamanho.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Aquisição de dados de produção.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Relatórios claros e completos.</a:t>
            </a:r>
            <a:endParaRPr lang="pt-BR" sz="1000" dirty="0"/>
          </a:p>
        </p:txBody>
      </p:sp>
      <p:pic>
        <p:nvPicPr>
          <p:cNvPr id="16" name="Immagine 1">
            <a:extLst>
              <a:ext uri="{FF2B5EF4-FFF2-40B4-BE49-F238E27FC236}">
                <a16:creationId xmlns:a16="http://schemas.microsoft.com/office/drawing/2014/main" id="{7ABECAA7-E588-48A4-AC4E-CC29DF107A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12840" y="4395212"/>
            <a:ext cx="1632357" cy="1219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8194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GeboCermex_Template_4x3_v10_FINAL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GeboCermex_Template_4x3_v10_FINAL.potx" id="{40843EB2-E077-49DA-961C-E3E6AA04AB3C}" vid="{D02E4197-38B6-451C-BC78-F167F6199CD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GeboCermex_PPT_template_long</Template>
  <TotalTime>0</TotalTime>
  <Words>182</Words>
  <Application>Microsoft Office PowerPoint</Application>
  <PresentationFormat>Affichage à l'écran (4:3)</PresentationFormat>
  <Paragraphs>30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宋体</vt:lpstr>
      <vt:lpstr>Arial</vt:lpstr>
      <vt:lpstr>Wingdings</vt:lpstr>
      <vt:lpstr>1_NewGeboCermex_Template_4x3_v10_FINAL</vt:lpstr>
      <vt:lpstr>think-cell Folie</vt:lpstr>
      <vt:lpstr>Reduza o consumo de água e vapor de seu equipamento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ghtweight funnel</dc:title>
  <dc:creator>Claudio POMO</dc:creator>
  <cp:lastModifiedBy>Sorega, Dan</cp:lastModifiedBy>
  <cp:revision>15</cp:revision>
  <cp:lastPrinted>2017-05-19T07:45:48Z</cp:lastPrinted>
  <dcterms:created xsi:type="dcterms:W3CDTF">2018-01-25T16:00:18Z</dcterms:created>
  <dcterms:modified xsi:type="dcterms:W3CDTF">2019-11-27T13:29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1-27T13:29:39.9035447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3-23T13:30:01.5933707+01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3-23T13:30:01.5933707+01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